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522" r:id="rId7"/>
    <p:sldMasterId id="2147484916" r:id="rId8"/>
  </p:sldMasterIdLst>
  <p:notesMasterIdLst>
    <p:notesMasterId r:id="rId17"/>
  </p:notesMasterIdLst>
  <p:handoutMasterIdLst>
    <p:handoutMasterId r:id="rId18"/>
  </p:handoutMasterIdLst>
  <p:sldIdLst>
    <p:sldId id="483" r:id="rId9"/>
    <p:sldId id="484" r:id="rId10"/>
    <p:sldId id="485" r:id="rId11"/>
    <p:sldId id="489" r:id="rId12"/>
    <p:sldId id="491" r:id="rId13"/>
    <p:sldId id="487" r:id="rId14"/>
    <p:sldId id="490" r:id="rId15"/>
    <p:sldId id="488" r:id="rId16"/>
  </p:sldIdLst>
  <p:sldSz cx="12190413" cy="6858000"/>
  <p:notesSz cx="6797675" cy="9926638"/>
  <p:custDataLst>
    <p:tags r:id="rId19"/>
  </p:custDataLst>
  <p:defaultTextStyle>
    <a:defPPr>
      <a:defRPr lang="de-DE"/>
    </a:defPPr>
    <a:lvl1pPr marL="0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90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8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70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6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5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4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36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25" algn="l" defTabSz="91438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  <p15:guide id="27" orient="horz" pos="1481">
          <p15:clr>
            <a:srgbClr val="A4A3A4"/>
          </p15:clr>
        </p15:guide>
        <p15:guide id="28" orient="horz" pos="3331">
          <p15:clr>
            <a:srgbClr val="A4A3A4"/>
          </p15:clr>
        </p15:guide>
        <p15:guide id="29" pos="10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54" userDrawn="1">
          <p15:clr>
            <a:srgbClr val="A4A3A4"/>
          </p15:clr>
        </p15:guide>
        <p15:guide id="2" pos="2132" userDrawn="1">
          <p15:clr>
            <a:srgbClr val="A4A3A4"/>
          </p15:clr>
        </p15:guide>
        <p15:guide id="3" orient="horz" pos="2831" userDrawn="1">
          <p15:clr>
            <a:srgbClr val="A4A3A4"/>
          </p15:clr>
        </p15:guide>
        <p15:guide id="4" pos="19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rden Redlich" initials="GR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1A5D"/>
    <a:srgbClr val="008ACB"/>
    <a:srgbClr val="FFFFFF"/>
    <a:srgbClr val="89D329"/>
    <a:srgbClr val="D0EEA9"/>
    <a:srgbClr val="00617F"/>
    <a:srgbClr val="000000"/>
    <a:srgbClr val="00BCFF"/>
    <a:srgbClr val="10384F"/>
    <a:srgbClr val="D30F4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66" autoAdjust="0"/>
    <p:restoredTop sz="94975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664" y="184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  <p:guide orient="horz" pos="1481"/>
        <p:guide orient="horz" pos="3331"/>
        <p:guide pos="10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3906"/>
    </p:cViewPr>
  </p:sorterViewPr>
  <p:notesViewPr>
    <p:cSldViewPr snapToGrid="0" snapToObjects="1">
      <p:cViewPr varScale="1">
        <p:scale>
          <a:sx n="76" d="100"/>
          <a:sy n="76" d="100"/>
        </p:scale>
        <p:origin x="-4026" y="-108"/>
      </p:cViewPr>
      <p:guideLst>
        <p:guide orient="horz" pos="2854"/>
        <p:guide pos="2132"/>
        <p:guide orient="horz" pos="2831"/>
        <p:guide pos="194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79823" y="175064"/>
            <a:ext cx="5905000" cy="1769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14" indent="0">
              <a:defRPr sz="700"/>
            </a:lvl2pPr>
            <a:lvl3pPr marL="0" indent="0">
              <a:defRPr sz="700"/>
            </a:lvl3pPr>
            <a:lvl4pPr marL="4514" indent="0">
              <a:defRPr sz="700"/>
            </a:lvl4pPr>
            <a:lvl5pPr marL="0" indent="0">
              <a:defRPr sz="700"/>
            </a:lvl5pPr>
            <a:lvl6pPr marL="4514" indent="0">
              <a:defRPr sz="700"/>
            </a:lvl6pPr>
            <a:lvl7pPr marL="0" indent="0">
              <a:defRPr sz="700"/>
            </a:lvl7pPr>
            <a:lvl8pPr marL="4514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35195" y="10152074"/>
            <a:ext cx="485792" cy="176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1/19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88426" y="10152074"/>
            <a:ext cx="5494781" cy="176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14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14" indent="0">
              <a:defRPr sz="700"/>
            </a:lvl4pPr>
            <a:lvl5pPr marL="0" indent="0">
              <a:defRPr sz="700"/>
            </a:lvl5pPr>
            <a:lvl6pPr marL="4514" indent="0">
              <a:defRPr sz="700"/>
            </a:lvl6pPr>
            <a:lvl7pPr marL="0" indent="0">
              <a:defRPr sz="700"/>
            </a:lvl7pPr>
            <a:lvl8pPr marL="4514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3396" y="10152074"/>
            <a:ext cx="188025" cy="176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61346" y="196447"/>
            <a:ext cx="359643" cy="392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wmf"/><Relationship Id="rId1" Type="http://schemas.openxmlformats.org/officeDocument/2006/relationships/theme" Target="../theme/theme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44463" y="611188"/>
            <a:ext cx="3263900" cy="183673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6652" tIns="43326" rIns="86652" bIns="4332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0257" y="2911024"/>
            <a:ext cx="6421039" cy="64046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7306" y="181557"/>
            <a:ext cx="5822896" cy="183462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14" indent="0">
              <a:defRPr sz="700"/>
            </a:lvl2pPr>
            <a:lvl3pPr marL="0" indent="0">
              <a:defRPr sz="700"/>
            </a:lvl3pPr>
            <a:lvl4pPr marL="4514" indent="0">
              <a:defRPr sz="700"/>
            </a:lvl4pPr>
            <a:lvl5pPr marL="0" indent="0">
              <a:defRPr sz="700"/>
            </a:lvl5pPr>
            <a:lvl6pPr marL="4514" indent="0">
              <a:defRPr sz="700"/>
            </a:lvl6pPr>
            <a:lvl7pPr marL="0" indent="0">
              <a:defRPr sz="700"/>
            </a:lvl7pPr>
            <a:lvl8pPr marL="4514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076619" y="9568247"/>
            <a:ext cx="533153" cy="18346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8/21/19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0586" y="9568247"/>
            <a:ext cx="5393860" cy="18346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14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14" indent="0">
              <a:defRPr sz="700"/>
            </a:lvl4pPr>
            <a:lvl5pPr marL="0" indent="0">
              <a:defRPr sz="700"/>
            </a:lvl5pPr>
            <a:lvl6pPr marL="4514" indent="0">
              <a:defRPr sz="700"/>
            </a:lvl6pPr>
            <a:lvl7pPr marL="0" indent="0">
              <a:defRPr sz="700"/>
            </a:lvl7pPr>
            <a:lvl8pPr marL="4514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0301" y="9568247"/>
            <a:ext cx="206152" cy="18346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15160" y="203734"/>
            <a:ext cx="394612" cy="40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85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3995" indent="-143995" algn="l" defTabSz="914385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7995" indent="-143995" algn="l" defTabSz="914385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1990" indent="-143995" algn="l" defTabSz="914385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5990" indent="-143995" algn="l" defTabSz="914385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9875" y="269875"/>
            <a:ext cx="3132138" cy="1762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325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w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w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wmf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2" y="-1"/>
            <a:ext cx="12184108" cy="6861544"/>
          </a:xfrm>
          <a:prstGeom prst="rect">
            <a:avLst/>
          </a:prstGeom>
        </p:spPr>
      </p:pic>
      <p:grpSp>
        <p:nvGrpSpPr>
          <p:cNvPr id="15" name="Group 219"/>
          <p:cNvGrpSpPr>
            <a:grpSpLocks noChangeAspect="1"/>
          </p:cNvGrpSpPr>
          <p:nvPr userDrawn="1"/>
        </p:nvGrpSpPr>
        <p:grpSpPr bwMode="gray">
          <a:xfrm>
            <a:off x="11106108" y="436516"/>
            <a:ext cx="587892" cy="589010"/>
            <a:chOff x="6936" y="180"/>
            <a:chExt cx="526" cy="527"/>
          </a:xfrm>
          <a:solidFill>
            <a:schemeClr val="bg1"/>
          </a:solidFill>
        </p:grpSpPr>
        <p:sp>
          <p:nvSpPr>
            <p:cNvPr id="17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29" name="Content Placeholder 14"/>
          <p:cNvSpPr>
            <a:spLocks noGrp="1"/>
          </p:cNvSpPr>
          <p:nvPr>
            <p:ph sz="quarter" idx="14"/>
          </p:nvPr>
        </p:nvSpPr>
        <p:spPr>
          <a:xfrm>
            <a:off x="484190" y="830932"/>
            <a:ext cx="4187825" cy="1397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i="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14"/>
          <p:cNvSpPr>
            <a:spLocks noGrp="1"/>
          </p:cNvSpPr>
          <p:nvPr>
            <p:ph sz="quarter" idx="15"/>
          </p:nvPr>
        </p:nvSpPr>
        <p:spPr>
          <a:xfrm>
            <a:off x="484190" y="437561"/>
            <a:ext cx="4187825" cy="393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arallelogram 15"/>
          <p:cNvSpPr/>
          <p:nvPr userDrawn="1"/>
        </p:nvSpPr>
        <p:spPr bwMode="gray">
          <a:xfrm>
            <a:off x="5057775" y="0"/>
            <a:ext cx="5772150" cy="6861544"/>
          </a:xfrm>
          <a:prstGeom prst="parallelogram">
            <a:avLst>
              <a:gd name="adj" fmla="val 2901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13962" y="0"/>
            <a:ext cx="5821681" cy="6861545"/>
          </a:xfrm>
          <a:prstGeom prst="parallelogram">
            <a:avLst>
              <a:gd name="adj" fmla="val 28792"/>
            </a:avLst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14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486943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B90FE55-D2AD-48FF-A1AF-DF303CD3A6B6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1627188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4085635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544082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9002529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17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8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28" name="Straight Connector 27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11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486943" cy="6858000"/>
          </a:xfrm>
          <a:prstGeom prst="rect">
            <a:avLst/>
          </a:prstGeom>
        </p:spPr>
      </p:pic>
      <p:sp>
        <p:nvSpPr>
          <p:cNvPr id="28" name="Content Placeholder 3"/>
          <p:cNvSpPr>
            <a:spLocks noGrp="1"/>
          </p:cNvSpPr>
          <p:nvPr>
            <p:ph sz="quarter" idx="16"/>
          </p:nvPr>
        </p:nvSpPr>
        <p:spPr>
          <a:xfrm>
            <a:off x="1627187" y="2428875"/>
            <a:ext cx="5643111" cy="1863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104862"/>
                </a:solidFill>
              </a:defRPr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17"/>
          </p:nvPr>
        </p:nvSpPr>
        <p:spPr>
          <a:xfrm>
            <a:off x="1627190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23"/>
          <p:cNvSpPr>
            <a:spLocks noGrp="1"/>
          </p:cNvSpPr>
          <p:nvPr>
            <p:ph type="pic" sz="quarter" idx="18"/>
          </p:nvPr>
        </p:nvSpPr>
        <p:spPr>
          <a:xfrm>
            <a:off x="3583558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23"/>
          <p:cNvSpPr>
            <a:spLocks noGrp="1"/>
          </p:cNvSpPr>
          <p:nvPr>
            <p:ph type="pic" sz="quarter" idx="19"/>
          </p:nvPr>
        </p:nvSpPr>
        <p:spPr>
          <a:xfrm>
            <a:off x="5539926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0F41499-2B3D-456A-9DDC-FEDFCF9E65CE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grpSp>
        <p:nvGrpSpPr>
          <p:cNvPr id="16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7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33" name="Straight Connector 32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634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47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651195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B16FD53-2199-4F9F-9E0E-7ABC274EDB8B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69" y="1732751"/>
            <a:ext cx="10132312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18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5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1269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651195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586ACEF-59A5-4F4A-B20D-CDF8EB015529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69" y="1732751"/>
            <a:ext cx="6038706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514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651195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60C831-3F8E-4C75-9CB2-A140AC5FED5C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1627188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4085635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544082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9002529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0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645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 35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634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651195" cy="6858000"/>
          </a:xfrm>
          <a:prstGeom prst="rect">
            <a:avLst/>
          </a:prstGeom>
        </p:spPr>
      </p:pic>
      <p:sp>
        <p:nvSpPr>
          <p:cNvPr id="28" name="Content Placeholder 3"/>
          <p:cNvSpPr>
            <a:spLocks noGrp="1"/>
          </p:cNvSpPr>
          <p:nvPr>
            <p:ph sz="quarter" idx="16"/>
          </p:nvPr>
        </p:nvSpPr>
        <p:spPr>
          <a:xfrm>
            <a:off x="1627187" y="2428875"/>
            <a:ext cx="5643111" cy="1863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104862"/>
                </a:solidFill>
              </a:defRPr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17"/>
          </p:nvPr>
        </p:nvSpPr>
        <p:spPr>
          <a:xfrm>
            <a:off x="1627190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23"/>
          <p:cNvSpPr>
            <a:spLocks noGrp="1"/>
          </p:cNvSpPr>
          <p:nvPr>
            <p:ph type="pic" sz="quarter" idx="18"/>
          </p:nvPr>
        </p:nvSpPr>
        <p:spPr>
          <a:xfrm>
            <a:off x="3583558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23"/>
          <p:cNvSpPr>
            <a:spLocks noGrp="1"/>
          </p:cNvSpPr>
          <p:nvPr>
            <p:ph type="pic" sz="quarter" idx="19"/>
          </p:nvPr>
        </p:nvSpPr>
        <p:spPr>
          <a:xfrm>
            <a:off x="5539926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615C67-319F-41E1-ACD8-9DBF5025AA4C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9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462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A984630-6759-4551-9BAF-37DCBC99B33B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69" y="1732751"/>
            <a:ext cx="10132312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185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27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1269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7FC43AD-4D25-45E3-8410-675A408C8AAE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71" y="1732751"/>
            <a:ext cx="6048231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6815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4B4B082-92AB-4D82-9FC3-E5A4E5F3C80C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/>
          </p:nvPr>
        </p:nvSpPr>
        <p:spPr>
          <a:xfrm>
            <a:off x="1627188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/>
          </p:nvPr>
        </p:nvSpPr>
        <p:spPr>
          <a:xfrm>
            <a:off x="4085635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544082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</p:nvPr>
        </p:nvSpPr>
        <p:spPr>
          <a:xfrm>
            <a:off x="9002529" y="2428877"/>
            <a:ext cx="1973262" cy="2314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0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092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 35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634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6"/>
          </p:nvPr>
        </p:nvSpPr>
        <p:spPr>
          <a:xfrm>
            <a:off x="1627187" y="2428875"/>
            <a:ext cx="5643111" cy="1863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104862"/>
                </a:solidFill>
              </a:defRPr>
            </a:lvl1pPr>
            <a:lvl2pPr marL="457196" indent="0">
              <a:buNone/>
              <a:defRPr sz="1000"/>
            </a:lvl2pPr>
            <a:lvl3pPr marL="914394" indent="0">
              <a:buNone/>
              <a:defRPr sz="1000"/>
            </a:lvl3pPr>
            <a:lvl4pPr marL="1371588" indent="0">
              <a:buNone/>
              <a:defRPr sz="1000"/>
            </a:lvl4pPr>
            <a:lvl5pPr marL="1828786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17"/>
          </p:nvPr>
        </p:nvSpPr>
        <p:spPr>
          <a:xfrm>
            <a:off x="1627190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23"/>
          <p:cNvSpPr>
            <a:spLocks noGrp="1"/>
          </p:cNvSpPr>
          <p:nvPr>
            <p:ph type="pic" sz="quarter" idx="18"/>
          </p:nvPr>
        </p:nvSpPr>
        <p:spPr>
          <a:xfrm>
            <a:off x="3583558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23"/>
          <p:cNvSpPr>
            <a:spLocks noGrp="1"/>
          </p:cNvSpPr>
          <p:nvPr>
            <p:ph type="pic" sz="quarter" idx="19"/>
          </p:nvPr>
        </p:nvSpPr>
        <p:spPr>
          <a:xfrm>
            <a:off x="5539926" y="4443413"/>
            <a:ext cx="1730375" cy="1471612"/>
          </a:xfrm>
          <a:prstGeom prst="rect">
            <a:avLst/>
          </a:prstGeom>
          <a:solidFill>
            <a:srgbClr val="007492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69EA102-64FB-42A8-A751-0CE1ABC2B26B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8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073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2" y="1"/>
            <a:ext cx="12184108" cy="6861545"/>
          </a:xfrm>
          <a:prstGeom prst="rect">
            <a:avLst/>
          </a:prstGeom>
        </p:spPr>
      </p:pic>
      <p:grpSp>
        <p:nvGrpSpPr>
          <p:cNvPr id="17" name="Group 219"/>
          <p:cNvGrpSpPr>
            <a:grpSpLocks noChangeAspect="1"/>
          </p:cNvGrpSpPr>
          <p:nvPr userDrawn="1"/>
        </p:nvGrpSpPr>
        <p:grpSpPr bwMode="gray">
          <a:xfrm>
            <a:off x="11106108" y="436516"/>
            <a:ext cx="587892" cy="589010"/>
            <a:chOff x="6936" y="180"/>
            <a:chExt cx="526" cy="527"/>
          </a:xfrm>
          <a:solidFill>
            <a:schemeClr val="bg1"/>
          </a:solidFill>
        </p:grpSpPr>
        <p:sp>
          <p:nvSpPr>
            <p:cNvPr id="19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30" name="Content Placeholder 14"/>
          <p:cNvSpPr>
            <a:spLocks noGrp="1"/>
          </p:cNvSpPr>
          <p:nvPr>
            <p:ph sz="quarter" idx="14"/>
          </p:nvPr>
        </p:nvSpPr>
        <p:spPr>
          <a:xfrm>
            <a:off x="484190" y="830932"/>
            <a:ext cx="4187825" cy="1397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i="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4"/>
          <p:cNvSpPr>
            <a:spLocks noGrp="1"/>
          </p:cNvSpPr>
          <p:nvPr>
            <p:ph sz="quarter" idx="15"/>
          </p:nvPr>
        </p:nvSpPr>
        <p:spPr>
          <a:xfrm>
            <a:off x="484190" y="437561"/>
            <a:ext cx="4187825" cy="393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13962" y="0"/>
            <a:ext cx="5821681" cy="6861545"/>
          </a:xfrm>
          <a:prstGeom prst="parallelogram">
            <a:avLst>
              <a:gd name="adj" fmla="val 28792"/>
            </a:avLst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7782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D282EA4-4188-4FF7-B1BE-EC7B52D19262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3" y="1732752"/>
            <a:ext cx="522000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605" y="1732752"/>
            <a:ext cx="522000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1878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0284" y="1138299"/>
            <a:ext cx="1079943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4AAEE20-4E76-4E65-BEAC-2367817BB415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2" y="3892751"/>
            <a:ext cx="522000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51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0282" y="1732750"/>
            <a:ext cx="5220000" cy="1800000"/>
          </a:xfrm>
        </p:spPr>
        <p:txBody>
          <a:bodyPr tIns="539996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39996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303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C05A550-3213-4EE7-9C24-05FCC6913404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149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F0C0894-EA60-4293-9838-900EF3807E7F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0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8048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7BC894-5F4D-4F6F-BF7E-C29F44ED4F36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670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4" y="551657"/>
            <a:ext cx="10800000" cy="5933094"/>
          </a:xfrm>
        </p:spPr>
        <p:txBody>
          <a:bodyPr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89B84-2254-4F98-A32B-E7D5B5B04618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388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0" y="0"/>
            <a:ext cx="974672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419481E-E0DC-412E-83E7-6FCAB6A16897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2" y="0"/>
            <a:ext cx="12190413" cy="6858000"/>
          </a:xfrm>
        </p:spPr>
        <p:txBody>
          <a:bodyPr tIns="539996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6635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2" y="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753DCEF-7110-4781-9966-3663FAEA5AC5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72">
              <a:defRPr/>
            </a:pPr>
            <a:r>
              <a:rPr lang="en-US" sz="1100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96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18" rIns="91440" bIns="45718" numCol="1" anchor="t" anchorCtr="0" compatLnSpc="1">
            <a:prstTxWarp prst="textNoShape">
              <a:avLst/>
            </a:prstTxWarp>
          </a:bodyPr>
          <a:lstStyle/>
          <a:p>
            <a:pPr defTabSz="91439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875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2" y="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40"/>
              </a:gs>
              <a:gs pos="0">
                <a:srgbClr val="2B6640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1" y="173275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3736D5-8248-4582-B952-B6242C0D4B09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72">
              <a:defRPr/>
            </a:pPr>
            <a:r>
              <a:rPr lang="en-US" sz="1100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96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18" rIns="91440" bIns="45718" numCol="1" anchor="t" anchorCtr="0" compatLnSpc="1">
            <a:prstTxWarp prst="textNoShape">
              <a:avLst/>
            </a:prstTxWarp>
          </a:bodyPr>
          <a:lstStyle/>
          <a:p>
            <a:pPr defTabSz="91439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57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2" y="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0" y="173275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2613980-450F-4C6A-972A-83414D73CDAF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72">
              <a:defRPr/>
            </a:pPr>
            <a:r>
              <a:rPr lang="en-US" sz="1100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96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18" rIns="91440" bIns="45718" numCol="1" anchor="t" anchorCtr="0" compatLnSpc="1">
            <a:prstTxWarp prst="textNoShape">
              <a:avLst/>
            </a:prstTxWarp>
          </a:bodyPr>
          <a:lstStyle/>
          <a:p>
            <a:pPr defTabSz="91439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17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3" y="-1"/>
            <a:ext cx="12184106" cy="6861544"/>
          </a:xfrm>
          <a:prstGeom prst="rect">
            <a:avLst/>
          </a:prstGeom>
        </p:spPr>
      </p:pic>
      <p:grpSp>
        <p:nvGrpSpPr>
          <p:cNvPr id="17" name="Group 219"/>
          <p:cNvGrpSpPr>
            <a:grpSpLocks noChangeAspect="1"/>
          </p:cNvGrpSpPr>
          <p:nvPr userDrawn="1"/>
        </p:nvGrpSpPr>
        <p:grpSpPr bwMode="gray">
          <a:xfrm>
            <a:off x="11106108" y="436516"/>
            <a:ext cx="587892" cy="589010"/>
            <a:chOff x="6936" y="180"/>
            <a:chExt cx="526" cy="527"/>
          </a:xfrm>
          <a:solidFill>
            <a:schemeClr val="bg1"/>
          </a:solidFill>
        </p:grpSpPr>
        <p:sp>
          <p:nvSpPr>
            <p:cNvPr id="19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30" name="Content Placeholder 14"/>
          <p:cNvSpPr>
            <a:spLocks noGrp="1"/>
          </p:cNvSpPr>
          <p:nvPr>
            <p:ph sz="quarter" idx="14"/>
          </p:nvPr>
        </p:nvSpPr>
        <p:spPr>
          <a:xfrm>
            <a:off x="484190" y="830932"/>
            <a:ext cx="4187825" cy="1397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i="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4"/>
          <p:cNvSpPr>
            <a:spLocks noGrp="1"/>
          </p:cNvSpPr>
          <p:nvPr>
            <p:ph sz="quarter" idx="15"/>
          </p:nvPr>
        </p:nvSpPr>
        <p:spPr>
          <a:xfrm>
            <a:off x="484190" y="437561"/>
            <a:ext cx="4187825" cy="393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104862"/>
                </a:solidFill>
                <a:latin typeface="+mj-lt"/>
              </a:defRPr>
            </a:lvl1pPr>
            <a:lvl2pPr marL="457196" indent="0">
              <a:buNone/>
              <a:defRPr/>
            </a:lvl2pPr>
            <a:lvl3pPr marL="914394" indent="0">
              <a:buNone/>
              <a:defRPr/>
            </a:lvl3pPr>
            <a:lvl4pPr marL="1371588" indent="0">
              <a:buNone/>
              <a:defRPr/>
            </a:lvl4pPr>
            <a:lvl5pPr marL="18287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13962" y="0"/>
            <a:ext cx="5821681" cy="6861545"/>
          </a:xfrm>
          <a:prstGeom prst="parallelogram">
            <a:avLst>
              <a:gd name="adj" fmla="val 28792"/>
            </a:avLst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826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666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r>
              <a:rPr lang="en-US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C58EF2-4392-4FB2-87E1-CE57C535FEB9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0" y="590935"/>
            <a:ext cx="108000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10384F"/>
                </a:solidFill>
              </a:rPr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" y="0"/>
            <a:ext cx="12190413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14,20</a:t>
              </a:r>
            </a:p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5.59</a:t>
              </a:r>
            </a:p>
            <a:p>
              <a:pPr defTabSz="914394"/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7,45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2.93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6,45</a:t>
              </a:r>
            </a:p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2.5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0,30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0.1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1,30</a:t>
              </a:r>
            </a:p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0.51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8,06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3.1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9,06</a:t>
              </a:r>
            </a:p>
            <a:p>
              <a:pPr defTabSz="914394"/>
              <a:r>
                <a:rPr lang="de-DE" sz="800" dirty="0">
                  <a:solidFill>
                    <a:srgbClr val="D30F4B"/>
                  </a:solidFill>
                </a:rPr>
                <a:t>3.5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15,80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6.2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4,70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1.85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4394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8,49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2,40</a:t>
              </a: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0.9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4394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1,40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4394"/>
              <a:r>
                <a:rPr lang="de-DE" sz="800" dirty="0">
                  <a:solidFill>
                    <a:srgbClr val="D30F4B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600" dirty="0">
                  <a:solidFill>
                    <a:srgbClr val="FF316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94"/>
              <a:r>
                <a:rPr lang="de-DE" sz="600" dirty="0">
                  <a:solidFill>
                    <a:srgbClr val="FF3162"/>
                  </a:solidFill>
                </a:rPr>
                <a:t>0.31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600" dirty="0">
                  <a:solidFill>
                    <a:srgbClr val="FF316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94"/>
              <a:r>
                <a:rPr lang="de-DE" sz="600" dirty="0">
                  <a:solidFill>
                    <a:srgbClr val="FF3162"/>
                  </a:solidFill>
                </a:rPr>
                <a:t>0.75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666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r>
              <a:rPr lang="en-US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802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2829" y="1622430"/>
            <a:ext cx="11238605" cy="453311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dirty="0"/>
              <a:t>Text in Arial Regular 18pt</a:t>
            </a:r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Fourth level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65978" y="6424615"/>
            <a:ext cx="8080487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5" indent="0">
              <a:defRPr sz="800">
                <a:solidFill>
                  <a:schemeClr val="tx1"/>
                </a:solidFill>
              </a:defRPr>
            </a:lvl3pPr>
            <a:lvl4pPr marL="3169" indent="0">
              <a:defRPr sz="800">
                <a:solidFill>
                  <a:schemeClr val="tx1"/>
                </a:solidFill>
              </a:defRPr>
            </a:lvl4pPr>
            <a:lvl5pPr marL="3169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>
                <a:solidFill>
                  <a:srgbClr val="000000"/>
                </a:solidFill>
              </a:rPr>
              <a:t>/// Bayer AG - Corporate Innovation /// October 201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74716" y="6424615"/>
            <a:ext cx="44561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5" indent="0" algn="r">
              <a:defRPr sz="800">
                <a:solidFill>
                  <a:schemeClr val="tx1"/>
                </a:solidFill>
              </a:defRPr>
            </a:lvl2pPr>
            <a:lvl3pPr marL="0" indent="0" algn="r">
              <a:defRPr sz="800">
                <a:solidFill>
                  <a:schemeClr val="tx1"/>
                </a:solidFill>
              </a:defRPr>
            </a:lvl3pPr>
            <a:lvl4pPr marL="0" indent="0" algn="r">
              <a:defRPr sz="800">
                <a:solidFill>
                  <a:schemeClr val="tx1"/>
                </a:solidFill>
              </a:defRPr>
            </a:lvl4pPr>
            <a:lvl5pPr marL="0" indent="0" algn="r">
              <a:defRPr sz="800">
                <a:solidFill>
                  <a:schemeClr val="tx1"/>
                </a:solidFill>
              </a:defRPr>
            </a:lvl5pPr>
            <a:lvl6pPr marL="0" indent="0" algn="r">
              <a:defRPr sz="800">
                <a:solidFill>
                  <a:schemeClr val="tx1"/>
                </a:solidFill>
              </a:defRPr>
            </a:lvl6pPr>
            <a:lvl7pPr marL="0" indent="0" algn="r">
              <a:defRPr sz="800">
                <a:solidFill>
                  <a:schemeClr val="tx1"/>
                </a:solidFill>
              </a:defRPr>
            </a:lvl7pPr>
            <a:lvl8pPr marL="0" indent="0" algn="r">
              <a:defRPr sz="800">
                <a:solidFill>
                  <a:schemeClr val="tx1"/>
                </a:solidFill>
              </a:defRPr>
            </a:lvl8pPr>
            <a:lvl9pPr marL="0" indent="0" algn="r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448564" y="445199"/>
            <a:ext cx="9568784" cy="8565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684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94"/>
            <a:fld id="{BC969764-E268-448B-97C9-FEEDE381FE91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94"/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9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914394"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61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5A6AC1-2D25-4A24-BB75-66401DA63F3F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72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1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330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6CD352-1DE9-404B-BC45-99CEB3DB91B1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72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1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53" y="0"/>
            <a:ext cx="811257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043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A6EA98D-DAC1-43F1-990B-046FAC2690F6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72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1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54" y="0"/>
            <a:ext cx="8114954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4497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49" y="1843721"/>
            <a:ext cx="4680000" cy="4641030"/>
          </a:xfrm>
        </p:spPr>
        <p:txBody>
          <a:bodyPr/>
          <a:lstStyle>
            <a:lvl1pPr marL="269988" indent="-269988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39976" indent="-269988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09964" indent="-269988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79952" indent="-269988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7F4468-7CFE-4AA7-A923-5B0B2A18E3AA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84" y="6617933"/>
            <a:ext cx="5710665" cy="108000"/>
          </a:xfrm>
        </p:spPr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248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de-D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74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08" rIns="91440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364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6F57DC8-9941-45FD-A28A-8DF55CC9CF95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14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836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38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08" rIns="91440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364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45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96C932F-84BD-465C-A21E-D882E8C76A82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252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08" rIns="91440" bIns="45708" numCol="1" rtlCol="0" anchor="ctr" anchorCtr="0" compatLnSpc="1">
            <a:prstTxWarp prst="textNoShape">
              <a:avLst/>
            </a:prstTxWarp>
          </a:bodyPr>
          <a:lstStyle/>
          <a:p>
            <a:pPr algn="ctr" defTabSz="914364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70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2A280C-6BCE-4E17-A893-7B37EB3D4626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32"/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20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64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756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9" y="1843721"/>
            <a:ext cx="4680000" cy="4641030"/>
          </a:xfrm>
        </p:spPr>
        <p:txBody>
          <a:bodyPr/>
          <a:lstStyle>
            <a:lvl1pPr marL="269998" indent="-269998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39996" indent="-269998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09994" indent="-269998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79992" indent="-269998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gray">
          <a:xfrm>
            <a:off x="0" y="0"/>
            <a:ext cx="974672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5A507B1-ADD9-41E8-B0FB-27AB91E54EF5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4" y="6617933"/>
            <a:ext cx="5710665" cy="108000"/>
          </a:xfrm>
        </p:spPr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238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94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94"/>
              <a:endParaRPr lang="de-D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34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6E4CA36-A166-4553-A80E-A7868082E919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9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3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987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2" y="1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58F115A-1ED6-453E-9A0C-921F1E420C31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1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08" rIns="91440" bIns="45708" numCol="1" anchor="t" anchorCtr="0" compatLnSpc="1">
            <a:prstTxWarp prst="textNoShape">
              <a:avLst/>
            </a:prstTxWarp>
          </a:bodyPr>
          <a:lstStyle/>
          <a:p>
            <a:pPr defTabSz="91436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24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2" y="1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1" y="173276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0A8B598-1816-455E-BF1D-1BFB836E6041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1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08" rIns="91440" bIns="45708" numCol="1" anchor="t" anchorCtr="0" compatLnSpc="1">
            <a:prstTxWarp prst="textNoShape">
              <a:avLst/>
            </a:prstTxWarp>
          </a:bodyPr>
          <a:lstStyle/>
          <a:p>
            <a:pPr defTabSz="91436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3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2" y="12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20" y="173276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75FA8-F8C2-45A1-BD9E-415DB8CA1163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AG - Corporate Innovation /// Octo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95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32">
              <a:defRPr/>
            </a:pPr>
            <a:r>
              <a:rPr lang="en-US" sz="1100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976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88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12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08" rIns="91440" bIns="45708" numCol="1" anchor="t" anchorCtr="0" compatLnSpc="1">
            <a:prstTxWarp prst="textNoShape">
              <a:avLst/>
            </a:prstTxWarp>
          </a:bodyPr>
          <a:lstStyle/>
          <a:p>
            <a:pPr defTabSz="914364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78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676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r>
              <a:rPr lang="en-US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CEF8BDA-F2EF-4F57-AF20-1A5A375D4293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0" y="590935"/>
            <a:ext cx="108000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10384F"/>
                </a:solidFill>
              </a:rPr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2" y="0"/>
            <a:ext cx="12190413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14,20</a:t>
              </a:r>
            </a:p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5.59</a:t>
              </a:r>
            </a:p>
            <a:p>
              <a:pPr defTabSz="914364"/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7,45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2.93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6,45</a:t>
              </a:r>
            </a:p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2.5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0,30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0.1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1,30</a:t>
              </a:r>
            </a:p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0.51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8,06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3.1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9,06</a:t>
              </a:r>
            </a:p>
            <a:p>
              <a:pPr defTabSz="914364"/>
              <a:r>
                <a:rPr lang="de-DE" sz="800" dirty="0">
                  <a:solidFill>
                    <a:srgbClr val="D30F4B"/>
                  </a:solidFill>
                </a:rPr>
                <a:t>3.57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15,80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6.22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4,70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1.85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4364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8,49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2,40</a:t>
              </a: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0.94</a:t>
              </a:r>
              <a:endParaRPr lang="en-US" sz="800" dirty="0">
                <a:solidFill>
                  <a:srgbClr val="D30F4B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algn="r" defTabSz="914364">
                <a:defRPr/>
              </a:pPr>
              <a:r>
                <a:rPr lang="de-DE" sz="800" dirty="0">
                  <a:solidFill>
                    <a:srgbClr val="D30F4B"/>
                  </a:solidFill>
                </a:rPr>
                <a:t>1,40</a:t>
              </a:r>
              <a:endParaRPr lang="en-US" sz="800" dirty="0">
                <a:solidFill>
                  <a:srgbClr val="D30F4B"/>
                </a:solidFill>
              </a:endParaRPr>
            </a:p>
            <a:p>
              <a:pPr algn="r" defTabSz="914364"/>
              <a:r>
                <a:rPr lang="de-DE" sz="800" dirty="0">
                  <a:solidFill>
                    <a:srgbClr val="D30F4B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600" dirty="0">
                  <a:solidFill>
                    <a:srgbClr val="FF316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defTabSz="914364"/>
              <a:r>
                <a:rPr lang="de-DE" sz="600" dirty="0">
                  <a:solidFill>
                    <a:srgbClr val="FF3162"/>
                  </a:solidFill>
                </a:rPr>
                <a:t>0.31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600" dirty="0">
                  <a:solidFill>
                    <a:srgbClr val="FF316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 defTabSz="914364"/>
              <a:r>
                <a:rPr lang="de-DE" sz="600" dirty="0">
                  <a:solidFill>
                    <a:srgbClr val="FF3162"/>
                  </a:solidFill>
                </a:rPr>
                <a:t>0.75</a:t>
              </a:r>
              <a:endParaRPr lang="en-US" sz="600" dirty="0">
                <a:solidFill>
                  <a:srgbClr val="FF316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676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08" rIns="91440" bIns="45708" rtlCol="0" anchor="ctr"/>
          <a:lstStyle/>
          <a:p>
            <a:pPr algn="ctr" defTabSz="914364"/>
            <a:r>
              <a:rPr lang="en-US" dirty="0">
                <a:solidFill>
                  <a:srgbClr val="FFFFFF"/>
                </a:solidFill>
              </a:rPr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3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92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030118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7A690-26B2-4DF4-927F-8433258E0B28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1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7222729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7FD8EC9-808D-49DA-A006-E3CB5F0EE6F3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90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CD34835-D84E-4B63-AFA9-0111BD23E878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525059" y="1731962"/>
            <a:ext cx="8076766" cy="4745037"/>
          </a:xfrm>
          <a:prstGeom prst="parallelogram">
            <a:avLst>
              <a:gd name="adj" fmla="val 42155"/>
            </a:avLst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2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0641135-5985-4BF3-94D1-400B6C6E25ED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6002818" y="2390775"/>
            <a:ext cx="1122363" cy="1235192"/>
          </a:xfrm>
          <a:prstGeom prst="parallelogram">
            <a:avLst>
              <a:gd name="adj" fmla="val 20839"/>
            </a:avLst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181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D587C17-BCD8-4851-BAD5-07B58CC5A004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525059" y="1731962"/>
            <a:ext cx="8076766" cy="4745037"/>
          </a:xfrm>
          <a:prstGeom prst="parallelogram">
            <a:avLst>
              <a:gd name="adj" fmla="val 42155"/>
            </a:avLst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11"/>
          <p:cNvSpPr>
            <a:spLocks noGrp="1"/>
          </p:cNvSpPr>
          <p:nvPr>
            <p:ph type="pic" sz="quarter" idx="17"/>
          </p:nvPr>
        </p:nvSpPr>
        <p:spPr>
          <a:xfrm>
            <a:off x="2489738" y="2969897"/>
            <a:ext cx="3062842" cy="2302889"/>
          </a:xfrm>
          <a:prstGeom prst="parallelogram">
            <a:avLst>
              <a:gd name="adj" fmla="val 48244"/>
            </a:avLst>
          </a:prstGeom>
        </p:spPr>
        <p:txBody>
          <a:bodyPr/>
          <a:lstStyle/>
          <a:p>
            <a:endParaRPr lang="de-DE"/>
          </a:p>
        </p:txBody>
      </p:sp>
      <p:sp>
        <p:nvSpPr>
          <p:cNvPr id="15" name="Bildplatzhalter 11"/>
          <p:cNvSpPr>
            <a:spLocks noGrp="1"/>
          </p:cNvSpPr>
          <p:nvPr>
            <p:ph type="pic" sz="quarter" idx="16"/>
          </p:nvPr>
        </p:nvSpPr>
        <p:spPr>
          <a:xfrm>
            <a:off x="4655046" y="2461366"/>
            <a:ext cx="3062842" cy="2302889"/>
          </a:xfrm>
          <a:prstGeom prst="parallelogram">
            <a:avLst>
              <a:gd name="adj" fmla="val 48562"/>
            </a:avLst>
          </a:prstGeom>
        </p:spPr>
        <p:txBody>
          <a:bodyPr/>
          <a:lstStyle/>
          <a:p>
            <a:endParaRPr lang="de-DE"/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803907" y="2461366"/>
            <a:ext cx="3062842" cy="2302889"/>
          </a:xfrm>
          <a:prstGeom prst="parallelogram">
            <a:avLst>
              <a:gd name="adj" fmla="val 48562"/>
            </a:avLst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373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" y="-1"/>
            <a:ext cx="12184110" cy="686154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D60F5D0-3ECB-40C3-9134-852B57006AEA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22" name="Title 1"/>
          <p:cNvSpPr>
            <a:spLocks noGrp="1"/>
          </p:cNvSpPr>
          <p:nvPr>
            <p:ph type="title"/>
          </p:nvPr>
        </p:nvSpPr>
        <p:spPr bwMode="black">
          <a:xfrm>
            <a:off x="1649413" y="2678882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03" y="1735138"/>
            <a:ext cx="6197650" cy="693737"/>
          </a:xfrm>
        </p:spPr>
        <p:txBody>
          <a:bodyPr/>
          <a:lstStyle>
            <a:lvl2pPr marL="0" indent="0">
              <a:buNone/>
              <a:defRPr sz="4000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//////// Insert text</a:t>
            </a:r>
          </a:p>
        </p:txBody>
      </p:sp>
    </p:spTree>
    <p:extLst>
      <p:ext uri="{BB962C8B-B14F-4D97-AF65-F5344CB8AC3E}">
        <p14:creationId xmlns:p14="http://schemas.microsoft.com/office/powerpoint/2010/main" val="639555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762ED5-878D-4458-A22F-B84025142A6D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06575" y="4805043"/>
            <a:ext cx="3984672" cy="1446027"/>
          </a:xfrm>
          <a:prstGeom prst="parallelogram">
            <a:avLst>
              <a:gd name="adj" fmla="val 39706"/>
            </a:avLst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106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49D25E-5447-4B39-AD13-BFADBA20710E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1" name="Bildplatzhalter 16"/>
          <p:cNvSpPr>
            <a:spLocks noGrp="1"/>
          </p:cNvSpPr>
          <p:nvPr>
            <p:ph type="pic" sz="quarter" idx="16"/>
          </p:nvPr>
        </p:nvSpPr>
        <p:spPr bwMode="gray">
          <a:xfrm>
            <a:off x="7313038" y="2091636"/>
            <a:ext cx="2789612" cy="238373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10673 w 12673"/>
              <a:gd name="connsiteY3" fmla="*/ 10000 h 22235"/>
              <a:gd name="connsiteX4" fmla="*/ 0 w 12673"/>
              <a:gd name="connsiteY4" fmla="*/ 22235 h 22235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8111 w 12673"/>
              <a:gd name="connsiteY3" fmla="*/ 22104 h 22235"/>
              <a:gd name="connsiteX4" fmla="*/ 0 w 1267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11 w 12593"/>
              <a:gd name="connsiteY3" fmla="*/ 22104 h 22235"/>
              <a:gd name="connsiteX4" fmla="*/ 0 w 1259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22 w 12593"/>
              <a:gd name="connsiteY3" fmla="*/ 22126 h 22235"/>
              <a:gd name="connsiteX4" fmla="*/ 0 w 12593"/>
              <a:gd name="connsiteY4" fmla="*/ 22235 h 22235"/>
              <a:gd name="connsiteX0" fmla="*/ 0 w 12572"/>
              <a:gd name="connsiteY0" fmla="*/ 22147 h 22147"/>
              <a:gd name="connsiteX1" fmla="*/ 4652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  <a:gd name="connsiteX0" fmla="*/ 0 w 12572"/>
              <a:gd name="connsiteY0" fmla="*/ 22147 h 22147"/>
              <a:gd name="connsiteX1" fmla="*/ 4609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72" h="22147">
                <a:moveTo>
                  <a:pt x="0" y="22147"/>
                </a:moveTo>
                <a:lnTo>
                  <a:pt x="4609" y="0"/>
                </a:lnTo>
                <a:lnTo>
                  <a:pt x="12572" y="55"/>
                </a:lnTo>
                <a:lnTo>
                  <a:pt x="8101" y="22126"/>
                </a:lnTo>
                <a:lnTo>
                  <a:pt x="0" y="22147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 sz="1100"/>
            </a:lvl1pPr>
          </a:lstStyle>
          <a:p>
            <a:endParaRPr lang="de-DE" dirty="0"/>
          </a:p>
        </p:txBody>
      </p:sp>
      <p:sp>
        <p:nvSpPr>
          <p:cNvPr id="22" name="Bildplatzhalter 16"/>
          <p:cNvSpPr>
            <a:spLocks noGrp="1"/>
          </p:cNvSpPr>
          <p:nvPr>
            <p:ph type="pic" sz="quarter" idx="17"/>
          </p:nvPr>
        </p:nvSpPr>
        <p:spPr bwMode="gray">
          <a:xfrm>
            <a:off x="8929522" y="2516368"/>
            <a:ext cx="2789612" cy="238373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10673 w 12673"/>
              <a:gd name="connsiteY3" fmla="*/ 10000 h 22235"/>
              <a:gd name="connsiteX4" fmla="*/ 0 w 12673"/>
              <a:gd name="connsiteY4" fmla="*/ 22235 h 22235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8111 w 12673"/>
              <a:gd name="connsiteY3" fmla="*/ 22104 h 22235"/>
              <a:gd name="connsiteX4" fmla="*/ 0 w 1267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11 w 12593"/>
              <a:gd name="connsiteY3" fmla="*/ 22104 h 22235"/>
              <a:gd name="connsiteX4" fmla="*/ 0 w 1259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22 w 12593"/>
              <a:gd name="connsiteY3" fmla="*/ 22126 h 22235"/>
              <a:gd name="connsiteX4" fmla="*/ 0 w 12593"/>
              <a:gd name="connsiteY4" fmla="*/ 22235 h 22235"/>
              <a:gd name="connsiteX0" fmla="*/ 0 w 12572"/>
              <a:gd name="connsiteY0" fmla="*/ 22147 h 22147"/>
              <a:gd name="connsiteX1" fmla="*/ 4652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  <a:gd name="connsiteX0" fmla="*/ 0 w 12572"/>
              <a:gd name="connsiteY0" fmla="*/ 22147 h 22147"/>
              <a:gd name="connsiteX1" fmla="*/ 4609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72" h="22147">
                <a:moveTo>
                  <a:pt x="0" y="22147"/>
                </a:moveTo>
                <a:lnTo>
                  <a:pt x="4609" y="0"/>
                </a:lnTo>
                <a:lnTo>
                  <a:pt x="12572" y="55"/>
                </a:lnTo>
                <a:lnTo>
                  <a:pt x="8101" y="22126"/>
                </a:lnTo>
                <a:lnTo>
                  <a:pt x="0" y="22147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 sz="1100"/>
            </a:lvl1pPr>
          </a:lstStyle>
          <a:p>
            <a:endParaRPr lang="de-DE" dirty="0"/>
          </a:p>
        </p:txBody>
      </p:sp>
      <p:sp>
        <p:nvSpPr>
          <p:cNvPr id="25" name="Bildplatzhalter 16"/>
          <p:cNvSpPr>
            <a:spLocks noGrp="1"/>
          </p:cNvSpPr>
          <p:nvPr>
            <p:ph type="pic" sz="quarter" idx="14"/>
          </p:nvPr>
        </p:nvSpPr>
        <p:spPr bwMode="gray">
          <a:xfrm>
            <a:off x="5360449" y="2516368"/>
            <a:ext cx="2789612" cy="238373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10673 w 12673"/>
              <a:gd name="connsiteY3" fmla="*/ 10000 h 22235"/>
              <a:gd name="connsiteX4" fmla="*/ 0 w 12673"/>
              <a:gd name="connsiteY4" fmla="*/ 22235 h 22235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8111 w 12673"/>
              <a:gd name="connsiteY3" fmla="*/ 22104 h 22235"/>
              <a:gd name="connsiteX4" fmla="*/ 0 w 1267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11 w 12593"/>
              <a:gd name="connsiteY3" fmla="*/ 22104 h 22235"/>
              <a:gd name="connsiteX4" fmla="*/ 0 w 1259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22 w 12593"/>
              <a:gd name="connsiteY3" fmla="*/ 22126 h 22235"/>
              <a:gd name="connsiteX4" fmla="*/ 0 w 12593"/>
              <a:gd name="connsiteY4" fmla="*/ 22235 h 22235"/>
              <a:gd name="connsiteX0" fmla="*/ 0 w 12572"/>
              <a:gd name="connsiteY0" fmla="*/ 22147 h 22147"/>
              <a:gd name="connsiteX1" fmla="*/ 4652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  <a:gd name="connsiteX0" fmla="*/ 0 w 12572"/>
              <a:gd name="connsiteY0" fmla="*/ 22147 h 22147"/>
              <a:gd name="connsiteX1" fmla="*/ 4609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72" h="22147">
                <a:moveTo>
                  <a:pt x="0" y="22147"/>
                </a:moveTo>
                <a:lnTo>
                  <a:pt x="4609" y="0"/>
                </a:lnTo>
                <a:lnTo>
                  <a:pt x="12572" y="55"/>
                </a:lnTo>
                <a:lnTo>
                  <a:pt x="8101" y="22126"/>
                </a:lnTo>
                <a:lnTo>
                  <a:pt x="0" y="22147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 sz="1100"/>
            </a:lvl1pPr>
          </a:lstStyle>
          <a:p>
            <a:endParaRPr lang="de-DE" dirty="0"/>
          </a:p>
        </p:txBody>
      </p:sp>
      <p:sp>
        <p:nvSpPr>
          <p:cNvPr id="27" name="Bildplatzhalter 16"/>
          <p:cNvSpPr>
            <a:spLocks noGrp="1"/>
          </p:cNvSpPr>
          <p:nvPr>
            <p:ph type="pic" sz="quarter" idx="15"/>
          </p:nvPr>
        </p:nvSpPr>
        <p:spPr bwMode="gray">
          <a:xfrm>
            <a:off x="3756954" y="2091636"/>
            <a:ext cx="2789612" cy="2383737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10673 w 12673"/>
              <a:gd name="connsiteY3" fmla="*/ 10000 h 22235"/>
              <a:gd name="connsiteX4" fmla="*/ 0 w 12673"/>
              <a:gd name="connsiteY4" fmla="*/ 22235 h 22235"/>
              <a:gd name="connsiteX0" fmla="*/ 0 w 12673"/>
              <a:gd name="connsiteY0" fmla="*/ 22235 h 22235"/>
              <a:gd name="connsiteX1" fmla="*/ 4673 w 12673"/>
              <a:gd name="connsiteY1" fmla="*/ 0 h 22235"/>
              <a:gd name="connsiteX2" fmla="*/ 12673 w 12673"/>
              <a:gd name="connsiteY2" fmla="*/ 0 h 22235"/>
              <a:gd name="connsiteX3" fmla="*/ 8111 w 12673"/>
              <a:gd name="connsiteY3" fmla="*/ 22104 h 22235"/>
              <a:gd name="connsiteX4" fmla="*/ 0 w 1267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11 w 12593"/>
              <a:gd name="connsiteY3" fmla="*/ 22104 h 22235"/>
              <a:gd name="connsiteX4" fmla="*/ 0 w 12593"/>
              <a:gd name="connsiteY4" fmla="*/ 22235 h 22235"/>
              <a:gd name="connsiteX0" fmla="*/ 0 w 12593"/>
              <a:gd name="connsiteY0" fmla="*/ 22235 h 22235"/>
              <a:gd name="connsiteX1" fmla="*/ 4673 w 12593"/>
              <a:gd name="connsiteY1" fmla="*/ 0 h 22235"/>
              <a:gd name="connsiteX2" fmla="*/ 12593 w 12593"/>
              <a:gd name="connsiteY2" fmla="*/ 55 h 22235"/>
              <a:gd name="connsiteX3" fmla="*/ 8122 w 12593"/>
              <a:gd name="connsiteY3" fmla="*/ 22126 h 22235"/>
              <a:gd name="connsiteX4" fmla="*/ 0 w 12593"/>
              <a:gd name="connsiteY4" fmla="*/ 22235 h 22235"/>
              <a:gd name="connsiteX0" fmla="*/ 0 w 12572"/>
              <a:gd name="connsiteY0" fmla="*/ 22147 h 22147"/>
              <a:gd name="connsiteX1" fmla="*/ 4652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  <a:gd name="connsiteX0" fmla="*/ 0 w 12572"/>
              <a:gd name="connsiteY0" fmla="*/ 22147 h 22147"/>
              <a:gd name="connsiteX1" fmla="*/ 4609 w 12572"/>
              <a:gd name="connsiteY1" fmla="*/ 0 h 22147"/>
              <a:gd name="connsiteX2" fmla="*/ 12572 w 12572"/>
              <a:gd name="connsiteY2" fmla="*/ 55 h 22147"/>
              <a:gd name="connsiteX3" fmla="*/ 8101 w 12572"/>
              <a:gd name="connsiteY3" fmla="*/ 22126 h 22147"/>
              <a:gd name="connsiteX4" fmla="*/ 0 w 12572"/>
              <a:gd name="connsiteY4" fmla="*/ 22147 h 22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72" h="22147">
                <a:moveTo>
                  <a:pt x="0" y="22147"/>
                </a:moveTo>
                <a:lnTo>
                  <a:pt x="4609" y="0"/>
                </a:lnTo>
                <a:lnTo>
                  <a:pt x="12572" y="55"/>
                </a:lnTo>
                <a:lnTo>
                  <a:pt x="8101" y="22126"/>
                </a:lnTo>
                <a:lnTo>
                  <a:pt x="0" y="22147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 sz="11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882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0_Custom Layout">
  <p:cSld name="10_Custom Layou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415713" y="6456267"/>
            <a:ext cx="153943" cy="152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1F1F"/>
              </a:buClr>
              <a:buSzPts val="1000"/>
              <a:buFont typeface="Helvetica Neue"/>
              <a:buNone/>
              <a:defRPr sz="1000" b="0" i="0" u="none" strike="noStrike" cap="none">
                <a:solidFill>
                  <a:srgbClr val="1F1F1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7135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45952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13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B69C1F7-012E-4CA6-B41C-E1ADD183DFDA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63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65978" y="6424617"/>
            <a:ext cx="8080487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5" indent="0">
              <a:defRPr sz="800">
                <a:solidFill>
                  <a:schemeClr val="tx1"/>
                </a:solidFill>
              </a:defRPr>
            </a:lvl3pPr>
            <a:lvl4pPr marL="3169" indent="0">
              <a:defRPr sz="800">
                <a:solidFill>
                  <a:schemeClr val="tx1"/>
                </a:solidFill>
              </a:defRPr>
            </a:lvl4pPr>
            <a:lvl5pPr marL="3169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r>
              <a:rPr lang="en-US">
                <a:solidFill>
                  <a:srgbClr val="4D4D4D"/>
                </a:solidFill>
              </a:rPr>
              <a:t>/// Bayer AG - Corporate Innovation /// October 2018</a:t>
            </a:r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74718" y="6424617"/>
            <a:ext cx="44561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  <a:lvl2pPr marL="1585" indent="0" algn="r">
              <a:defRPr sz="800">
                <a:solidFill>
                  <a:schemeClr val="tx1"/>
                </a:solidFill>
              </a:defRPr>
            </a:lvl2pPr>
            <a:lvl3pPr marL="0" indent="0" algn="r">
              <a:defRPr sz="800">
                <a:solidFill>
                  <a:schemeClr val="tx1"/>
                </a:solidFill>
              </a:defRPr>
            </a:lvl3pPr>
            <a:lvl4pPr marL="0" indent="0" algn="r">
              <a:defRPr sz="800">
                <a:solidFill>
                  <a:schemeClr val="tx1"/>
                </a:solidFill>
              </a:defRPr>
            </a:lvl4pPr>
            <a:lvl5pPr marL="0" indent="0" algn="r">
              <a:defRPr sz="800">
                <a:solidFill>
                  <a:schemeClr val="tx1"/>
                </a:solidFill>
              </a:defRPr>
            </a:lvl5pPr>
            <a:lvl6pPr marL="0" indent="0" algn="r">
              <a:defRPr sz="800">
                <a:solidFill>
                  <a:schemeClr val="tx1"/>
                </a:solidFill>
              </a:defRPr>
            </a:lvl6pPr>
            <a:lvl7pPr marL="0" indent="0" algn="r">
              <a:defRPr sz="800">
                <a:solidFill>
                  <a:schemeClr val="tx1"/>
                </a:solidFill>
              </a:defRPr>
            </a:lvl7pPr>
            <a:lvl8pPr marL="0" indent="0" algn="r">
              <a:defRPr sz="800">
                <a:solidFill>
                  <a:schemeClr val="tx1"/>
                </a:solidFill>
              </a:defRPr>
            </a:lvl8pPr>
            <a:lvl9pPr marL="0" indent="0" algn="r">
              <a:defRPr sz="800"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4D4D4D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4D4D4D"/>
                </a:solidFill>
              </a:rPr>
              <a:pPr/>
              <a:t>‹#›</a:t>
            </a:fld>
            <a:endParaRPr lang="en-US" dirty="0">
              <a:solidFill>
                <a:srgbClr val="4D4D4D"/>
              </a:solidFill>
            </a:endParaRPr>
          </a:p>
        </p:txBody>
      </p:sp>
      <p:pic>
        <p:nvPicPr>
          <p:cNvPr id="12" name="Grafik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8299"/>
          <a:stretch/>
        </p:blipFill>
        <p:spPr>
          <a:xfrm>
            <a:off x="191535" y="-6383065"/>
            <a:ext cx="3576290" cy="12277105"/>
          </a:xfrm>
          <a:prstGeom prst="rect">
            <a:avLst/>
          </a:prstGeom>
        </p:spPr>
      </p:pic>
      <p:sp>
        <p:nvSpPr>
          <p:cNvPr id="13" name="Titelplatzhalter 1"/>
          <p:cNvSpPr>
            <a:spLocks noGrp="1"/>
          </p:cNvSpPr>
          <p:nvPr>
            <p:ph type="title" hasCustomPrompt="1"/>
          </p:nvPr>
        </p:nvSpPr>
        <p:spPr bwMode="gray">
          <a:xfrm>
            <a:off x="3991093" y="2689697"/>
            <a:ext cx="7712722" cy="102584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8000" b="1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5598" y="4048787"/>
            <a:ext cx="5438214" cy="843456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48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None/>
              <a:defRPr sz="3200"/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None/>
              <a:defRPr sz="3200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None/>
              <a:defRPr sz="320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/>
            </a:lvl9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0941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accel="1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80000">
                                      <p:cBhvr>
                                        <p:cTn id="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autoRev="1" fill="hold" nodeType="withEffect">
                                  <p:stCondLst>
                                    <p:cond delay="1950"/>
                                  </p:stCondLst>
                                  <p:childTnLst>
                                    <p:animRot by="-180000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decel="1800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Rot by="180000">
                                      <p:cBhvr>
                                        <p:cTn id="1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decel="8000" fill="hold" nodeType="withEffect">
                                  <p:stCondLst>
                                    <p:cond delay="5250"/>
                                  </p:stCondLst>
                                  <p:childTnLst>
                                    <p:animRot by="-180000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27"/>
          <p:cNvSpPr/>
          <p:nvPr userDrawn="1"/>
        </p:nvSpPr>
        <p:spPr>
          <a:xfrm>
            <a:off x="7938425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12700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3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3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17B899-02CC-4DAB-8FF3-C7ECF4C20326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69" y="1732751"/>
            <a:ext cx="6048231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6" y="0"/>
            <a:ext cx="1652639" cy="6858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 bwMode="gray">
          <a:xfrm flipH="1">
            <a:off x="-3226" y="-6350"/>
            <a:ext cx="1446237" cy="566323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4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229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64"/>
            <a:fld id="{F771ACC0-F8C4-44A9-A91A-EEB3E393C7A9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64"/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6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914364"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96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 Slides (customized 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gray">
          <a:xfrm>
            <a:off x="-13588" y="4"/>
            <a:ext cx="12204001" cy="6865883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0" rIns="91422" bIns="45710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96ADD-C7F6-44AA-9D25-BDBCA7992402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2663" y="1732751"/>
            <a:ext cx="10797618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>
            <a:extLst>
              <a:ext uri="{FF2B5EF4-FFF2-40B4-BE49-F238E27FC236}">
                <a16:creationId xmlns:a16="http://schemas.microsoft.com/office/drawing/2014/main" id="{116CC821-8EF5-46C9-B923-CF77182D32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3463" y="617158"/>
            <a:ext cx="399641" cy="399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 bwMode="gray">
          <a:xfrm>
            <a:off x="982666" y="439113"/>
            <a:ext cx="10797617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05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" y="-1"/>
            <a:ext cx="12184110" cy="686154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D5DA7D9-AC06-4EA5-8F20-15A52FF3E982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39" name="Title 1"/>
          <p:cNvSpPr>
            <a:spLocks noGrp="1"/>
          </p:cNvSpPr>
          <p:nvPr>
            <p:ph type="title"/>
          </p:nvPr>
        </p:nvSpPr>
        <p:spPr bwMode="black">
          <a:xfrm>
            <a:off x="1649413" y="2678882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03" y="1735138"/>
            <a:ext cx="6197650" cy="693737"/>
          </a:xfrm>
        </p:spPr>
        <p:txBody>
          <a:bodyPr/>
          <a:lstStyle>
            <a:lvl2pPr marL="0" indent="0">
              <a:buNone/>
              <a:defRPr sz="4000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//////// Insert text</a:t>
            </a:r>
          </a:p>
        </p:txBody>
      </p:sp>
    </p:spTree>
    <p:extLst>
      <p:ext uri="{BB962C8B-B14F-4D97-AF65-F5344CB8AC3E}">
        <p14:creationId xmlns:p14="http://schemas.microsoft.com/office/powerpoint/2010/main" val="70952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" y="-1"/>
            <a:ext cx="12184110" cy="686154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8A79DB4-8315-4898-90C2-F1C0A11B5169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AG - Corporate Innovation /// Octo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56" name="Title 1"/>
          <p:cNvSpPr>
            <a:spLocks noGrp="1"/>
          </p:cNvSpPr>
          <p:nvPr>
            <p:ph type="title"/>
          </p:nvPr>
        </p:nvSpPr>
        <p:spPr bwMode="black">
          <a:xfrm>
            <a:off x="1649413" y="2678882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03" y="1735138"/>
            <a:ext cx="6197650" cy="693737"/>
          </a:xfrm>
        </p:spPr>
        <p:txBody>
          <a:bodyPr/>
          <a:lstStyle>
            <a:lvl2pPr marL="0" indent="0">
              <a:buNone/>
              <a:defRPr sz="4000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//////// Insert text</a:t>
            </a:r>
          </a:p>
        </p:txBody>
      </p:sp>
    </p:spTree>
    <p:extLst>
      <p:ext uri="{BB962C8B-B14F-4D97-AF65-F5344CB8AC3E}">
        <p14:creationId xmlns:p14="http://schemas.microsoft.com/office/powerpoint/2010/main" val="150970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486943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5C7F914-83AD-4B21-9D38-DBC168D609B1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71" y="1732751"/>
            <a:ext cx="10132311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2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26" name="Straight Connector 25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199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 userDrawn="1"/>
        </p:nvSpPr>
        <p:spPr>
          <a:xfrm>
            <a:off x="7938427" y="0"/>
            <a:ext cx="4263099" cy="6872288"/>
          </a:xfrm>
          <a:custGeom>
            <a:avLst/>
            <a:gdLst>
              <a:gd name="connsiteX0" fmla="*/ 4271962 w 4271962"/>
              <a:gd name="connsiteY0" fmla="*/ 0 h 6886576"/>
              <a:gd name="connsiteX1" fmla="*/ 4271962 w 4271962"/>
              <a:gd name="connsiteY1" fmla="*/ 6886576 h 6886576"/>
              <a:gd name="connsiteX2" fmla="*/ 0 w 4271962"/>
              <a:gd name="connsiteY2" fmla="*/ 6886576 h 6886576"/>
              <a:gd name="connsiteX3" fmla="*/ 1443037 w 4271962"/>
              <a:gd name="connsiteY3" fmla="*/ 0 h 6886576"/>
              <a:gd name="connsiteX4" fmla="*/ 4271962 w 4271962"/>
              <a:gd name="connsiteY4" fmla="*/ 0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1962" h="6886576">
                <a:moveTo>
                  <a:pt x="4271962" y="0"/>
                </a:moveTo>
                <a:lnTo>
                  <a:pt x="4271962" y="6886576"/>
                </a:lnTo>
                <a:lnTo>
                  <a:pt x="0" y="6886576"/>
                </a:lnTo>
                <a:lnTo>
                  <a:pt x="1443037" y="0"/>
                </a:lnTo>
                <a:lnTo>
                  <a:pt x="427196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18" rIns="91440" bIns="45718" rtlCol="0" anchor="ctr"/>
          <a:lstStyle/>
          <a:p>
            <a:pPr algn="ctr" defTabSz="914394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Picture Placeholder 23"/>
          <p:cNvSpPr>
            <a:spLocks noGrp="1"/>
          </p:cNvSpPr>
          <p:nvPr>
            <p:ph type="pic" sz="quarter" idx="20"/>
          </p:nvPr>
        </p:nvSpPr>
        <p:spPr bwMode="gray">
          <a:xfrm>
            <a:off x="7896225" y="-12698"/>
            <a:ext cx="4305300" cy="6888163"/>
          </a:xfrm>
          <a:custGeom>
            <a:avLst/>
            <a:gdLst>
              <a:gd name="connsiteX0" fmla="*/ 0 w 4343883"/>
              <a:gd name="connsiteY0" fmla="*/ 0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0 w 4343883"/>
              <a:gd name="connsiteY4" fmla="*/ 0 h 6878638"/>
              <a:gd name="connsiteX0" fmla="*/ 1524000 w 4343883"/>
              <a:gd name="connsiteY0" fmla="*/ 14514 h 6878638"/>
              <a:gd name="connsiteX1" fmla="*/ 4343883 w 4343883"/>
              <a:gd name="connsiteY1" fmla="*/ 0 h 6878638"/>
              <a:gd name="connsiteX2" fmla="*/ 4343883 w 4343883"/>
              <a:gd name="connsiteY2" fmla="*/ 6878638 h 6878638"/>
              <a:gd name="connsiteX3" fmla="*/ 0 w 4343883"/>
              <a:gd name="connsiteY3" fmla="*/ 6878638 h 6878638"/>
              <a:gd name="connsiteX4" fmla="*/ 1524000 w 4343883"/>
              <a:gd name="connsiteY4" fmla="*/ 14514 h 6878638"/>
              <a:gd name="connsiteX0" fmla="*/ 1457325 w 4277208"/>
              <a:gd name="connsiteY0" fmla="*/ 14514 h 6888163"/>
              <a:gd name="connsiteX1" fmla="*/ 4277208 w 4277208"/>
              <a:gd name="connsiteY1" fmla="*/ 0 h 6888163"/>
              <a:gd name="connsiteX2" fmla="*/ 4277208 w 4277208"/>
              <a:gd name="connsiteY2" fmla="*/ 6878638 h 6888163"/>
              <a:gd name="connsiteX3" fmla="*/ 0 w 4277208"/>
              <a:gd name="connsiteY3" fmla="*/ 6888163 h 6888163"/>
              <a:gd name="connsiteX4" fmla="*/ 1457325 w 4277208"/>
              <a:gd name="connsiteY4" fmla="*/ 14514 h 6888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7208" h="6888163">
                <a:moveTo>
                  <a:pt x="1457325" y="14514"/>
                </a:moveTo>
                <a:lnTo>
                  <a:pt x="4277208" y="0"/>
                </a:lnTo>
                <a:lnTo>
                  <a:pt x="4277208" y="6878638"/>
                </a:lnTo>
                <a:lnTo>
                  <a:pt x="0" y="6888163"/>
                </a:lnTo>
                <a:lnTo>
                  <a:pt x="1457325" y="14514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224" y="0"/>
            <a:ext cx="1486943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1649415" y="1138299"/>
            <a:ext cx="10130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9415" y="181938"/>
            <a:ext cx="10130867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B0E7AB9-2E50-4533-9D98-BF9B221F6C1D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1647970" y="1732751"/>
            <a:ext cx="602918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Group 219"/>
          <p:cNvGrpSpPr>
            <a:grpSpLocks noChangeAspect="1"/>
          </p:cNvGrpSpPr>
          <p:nvPr userDrawn="1"/>
        </p:nvGrpSpPr>
        <p:grpSpPr bwMode="gray">
          <a:xfrm>
            <a:off x="395324" y="429626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2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72"/>
              <a:endParaRPr lang="en-US" sz="180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26" name="Straight Connector 25"/>
          <p:cNvCxnSpPr/>
          <p:nvPr userDrawn="1"/>
        </p:nvCxnSpPr>
        <p:spPr bwMode="gray">
          <a:xfrm flipH="1">
            <a:off x="-3224" y="-6348"/>
            <a:ext cx="1446237" cy="5663231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125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image" Target="../media/image8.wmf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ags" Target="../tags/tag2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image" Target="../media/image16.emf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3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pPr defTabSz="914394"/>
            <a:fld id="{9751CE34-D6B8-4208-BFAB-E51E60E6335A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pPr defTabSz="914394"/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defTabSz="91439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914394"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676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  <p:sldLayoutId id="2147484552" r:id="rId30"/>
    <p:sldLayoutId id="2147484553" r:id="rId31"/>
    <p:sldLayoutId id="2147484632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94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94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98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96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94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992" indent="-269998" algn="l" defTabSz="914394" rtl="0" eaLnBrk="1" latinLnBrk="0" hangingPunct="1">
        <a:spcBef>
          <a:spcPts val="300"/>
        </a:spcBef>
        <a:spcAft>
          <a:spcPts val="600"/>
        </a:spcAft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8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6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2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8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0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66891310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41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95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29"/>
            </p:custDataLst>
          </p:nvPr>
        </p:nvSpPr>
        <p:spPr bwMode="gray">
          <a:xfrm>
            <a:off x="0" y="0"/>
            <a:ext cx="158502" cy="1583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7260">
              <a:spcBef>
                <a:spcPct val="0"/>
              </a:spcBef>
              <a:spcAft>
                <a:spcPct val="0"/>
              </a:spcAft>
            </a:pPr>
            <a:endParaRPr lang="de-DE" sz="280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9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pPr defTabSz="914364"/>
            <a:fld id="{E6A0DFC9-2A79-4F69-974F-A40A93450442}" type="datetime1">
              <a:rPr lang="en-US" smtClean="0"/>
              <a:t>8/2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pPr defTabSz="914364"/>
            <a:r>
              <a:rPr lang="en-US">
                <a:solidFill>
                  <a:srgbClr val="10384F"/>
                </a:solidFill>
              </a:rPr>
              <a:t>/// Bayer AG - Corporate Innovation /// Octo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defTabSz="91436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914364"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8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5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6394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  <p:sldLayoutId id="2147484932" r:id="rId16"/>
    <p:sldLayoutId id="2147484933" r:id="rId17"/>
    <p:sldLayoutId id="2147484934" r:id="rId18"/>
    <p:sldLayoutId id="2147484935" r:id="rId19"/>
    <p:sldLayoutId id="2147484936" r:id="rId20"/>
    <p:sldLayoutId id="2147484937" r:id="rId21"/>
    <p:sldLayoutId id="2147484938" r:id="rId22"/>
    <p:sldLayoutId id="2147484939" r:id="rId23"/>
    <p:sldLayoutId id="2147484940" r:id="rId24"/>
    <p:sldLayoutId id="2147484941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64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64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988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76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964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952" indent="-269988" algn="l" defTabSz="914364" rtl="0" eaLnBrk="1" latinLnBrk="0" hangingPunct="1">
        <a:spcBef>
          <a:spcPts val="300"/>
        </a:spcBef>
        <a:spcAft>
          <a:spcPts val="600"/>
        </a:spcAft>
        <a:buFontTx/>
        <a:buBlip>
          <a:blip r:embed="rId3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6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8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8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5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1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20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2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1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9.xml"/><Relationship Id="rId7" Type="http://schemas.openxmlformats.org/officeDocument/2006/relationships/image" Target="../media/image2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21.xml"/><Relationship Id="rId7" Type="http://schemas.openxmlformats.org/officeDocument/2006/relationships/image" Target="../media/image3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197985"/>
              </p:ext>
            </p:extLst>
          </p:nvPr>
        </p:nvGraphicFramePr>
        <p:xfrm>
          <a:off x="1590" y="1588"/>
          <a:ext cx="1585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5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Gerade Verbindung 25"/>
          <p:cNvCxnSpPr/>
          <p:nvPr/>
        </p:nvCxnSpPr>
        <p:spPr>
          <a:xfrm flipV="1">
            <a:off x="-895018" y="-124833"/>
            <a:ext cx="2619527" cy="7526521"/>
          </a:xfrm>
          <a:prstGeom prst="line">
            <a:avLst/>
          </a:prstGeom>
          <a:ln w="12700">
            <a:solidFill>
              <a:srgbClr val="FF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1"/>
          <p:cNvSpPr/>
          <p:nvPr/>
        </p:nvSpPr>
        <p:spPr bwMode="auto">
          <a:xfrm>
            <a:off x="-4203943" y="-215301"/>
            <a:ext cx="10564405" cy="7555470"/>
          </a:xfrm>
          <a:custGeom>
            <a:avLst/>
            <a:gdLst>
              <a:gd name="connsiteX0" fmla="*/ 0 w 7141029"/>
              <a:gd name="connsiteY0" fmla="*/ 0 h 7547429"/>
              <a:gd name="connsiteX1" fmla="*/ 7141029 w 7141029"/>
              <a:gd name="connsiteY1" fmla="*/ 0 h 7547429"/>
              <a:gd name="connsiteX2" fmla="*/ 7141029 w 7141029"/>
              <a:gd name="connsiteY2" fmla="*/ 7547429 h 7547429"/>
              <a:gd name="connsiteX3" fmla="*/ 0 w 7141029"/>
              <a:gd name="connsiteY3" fmla="*/ 7547429 h 7547429"/>
              <a:gd name="connsiteX4" fmla="*/ 0 w 7141029"/>
              <a:gd name="connsiteY4" fmla="*/ 0 h 7547429"/>
              <a:gd name="connsiteX0" fmla="*/ 0 w 9085943"/>
              <a:gd name="connsiteY0" fmla="*/ 29028 h 7576457"/>
              <a:gd name="connsiteX1" fmla="*/ 9085943 w 9085943"/>
              <a:gd name="connsiteY1" fmla="*/ 0 h 7576457"/>
              <a:gd name="connsiteX2" fmla="*/ 7141029 w 9085943"/>
              <a:gd name="connsiteY2" fmla="*/ 7576457 h 7576457"/>
              <a:gd name="connsiteX3" fmla="*/ 0 w 9085943"/>
              <a:gd name="connsiteY3" fmla="*/ 7576457 h 7576457"/>
              <a:gd name="connsiteX4" fmla="*/ 0 w 9085943"/>
              <a:gd name="connsiteY4" fmla="*/ 29028 h 7576457"/>
              <a:gd name="connsiteX0" fmla="*/ 1494971 w 10580914"/>
              <a:gd name="connsiteY0" fmla="*/ 29028 h 7576457"/>
              <a:gd name="connsiteX1" fmla="*/ 10580914 w 10580914"/>
              <a:gd name="connsiteY1" fmla="*/ 0 h 7576457"/>
              <a:gd name="connsiteX2" fmla="*/ 8636000 w 10580914"/>
              <a:gd name="connsiteY2" fmla="*/ 7576457 h 7576457"/>
              <a:gd name="connsiteX3" fmla="*/ 0 w 10580914"/>
              <a:gd name="connsiteY3" fmla="*/ 7576457 h 7576457"/>
              <a:gd name="connsiteX4" fmla="*/ 1494971 w 10580914"/>
              <a:gd name="connsiteY4" fmla="*/ 29028 h 7576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80914" h="7576457">
                <a:moveTo>
                  <a:pt x="1494971" y="29028"/>
                </a:moveTo>
                <a:lnTo>
                  <a:pt x="10580914" y="0"/>
                </a:lnTo>
                <a:lnTo>
                  <a:pt x="8636000" y="7576457"/>
                </a:lnTo>
                <a:lnTo>
                  <a:pt x="0" y="7576457"/>
                </a:lnTo>
                <a:lnTo>
                  <a:pt x="1494971" y="29028"/>
                </a:lnTo>
                <a:close/>
              </a:path>
            </a:pathLst>
          </a:custGeom>
          <a:solidFill>
            <a:srgbClr val="2175A5">
              <a:alpha val="8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257" tIns="45629" rIns="91257" bIns="45629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4000" dirty="0">
                <a:solidFill>
                  <a:schemeClr val="bg1"/>
                </a:solidFill>
              </a:rPr>
              <a:t>		</a:t>
            </a:r>
            <a:r>
              <a:rPr lang="de-DE" sz="4400" dirty="0">
                <a:solidFill>
                  <a:schemeClr val="bg1"/>
                </a:solidFill>
              </a:rPr>
              <a:t>AWS Identity</a:t>
            </a:r>
          </a:p>
          <a:p>
            <a:pPr algn="ctr"/>
            <a:r>
              <a:rPr lang="de-DE" sz="4400" dirty="0">
                <a:solidFill>
                  <a:schemeClr val="bg1"/>
                </a:solidFill>
              </a:rPr>
              <a:t>		&amp; Access </a:t>
            </a:r>
          </a:p>
          <a:p>
            <a:pPr algn="ctr"/>
            <a:r>
              <a:rPr lang="de-DE" sz="4400" dirty="0">
                <a:solidFill>
                  <a:schemeClr val="bg1"/>
                </a:solidFill>
              </a:rPr>
              <a:t>		Manage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6B0BB6-22A2-F946-82BE-DCF54A38BE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643" y="2083213"/>
            <a:ext cx="3222151" cy="322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742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578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64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What is IAM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IA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2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100686-F10F-EB4C-8522-656066FBC7CF}"/>
              </a:ext>
            </a:extLst>
          </p:cNvPr>
          <p:cNvSpPr txBox="1"/>
          <p:nvPr/>
        </p:nvSpPr>
        <p:spPr bwMode="gray">
          <a:xfrm>
            <a:off x="1649415" y="1802578"/>
            <a:ext cx="9731022" cy="44478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/>
              <a:t>AWS Identity and Access Management (IAM) enables to manage access to </a:t>
            </a:r>
          </a:p>
          <a:p>
            <a:r>
              <a:rPr lang="en-US" dirty="0"/>
              <a:t>AWS services and resources securely. Using IAM, you can create and manage AWS users </a:t>
            </a:r>
          </a:p>
          <a:p>
            <a:r>
              <a:rPr lang="en-US" dirty="0"/>
              <a:t>Groups and role, and use permissions to allow and deny their access to AWS resources. </a:t>
            </a:r>
          </a:p>
          <a:p>
            <a:br>
              <a:rPr lang="en-US" dirty="0"/>
            </a:br>
            <a:endParaRPr lang="en-US" dirty="0"/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4D1B2E66-569D-D640-A404-C390F5DFA4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490" y="2684048"/>
            <a:ext cx="4322850" cy="3827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91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54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IA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3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7C92C4C-91F9-5844-875B-C637C8EC08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4770" y="1461304"/>
            <a:ext cx="9040872" cy="15903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15E9036-8F1F-594E-8AF8-6C586E441AB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161" y="3051626"/>
            <a:ext cx="8912481" cy="84407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740124D-70C8-B043-8DFD-A3FD3AC4771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6058" y="4118682"/>
            <a:ext cx="9466686" cy="2542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99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49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IAM user management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IA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4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1E7717-99A5-3D45-818A-674157D671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315" y="1849966"/>
            <a:ext cx="7773446" cy="409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23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9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IAM user management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IA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5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100686-F10F-EB4C-8522-656066FBC7CF}"/>
              </a:ext>
            </a:extLst>
          </p:cNvPr>
          <p:cNvSpPr txBox="1"/>
          <p:nvPr/>
        </p:nvSpPr>
        <p:spPr bwMode="gray">
          <a:xfrm>
            <a:off x="1446215" y="1836445"/>
            <a:ext cx="9731022" cy="44478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dirty="0"/>
          </a:p>
          <a:p>
            <a:r>
              <a:rPr lang="en-US" b="1" dirty="0"/>
              <a:t>User</a:t>
            </a:r>
            <a:r>
              <a:rPr lang="en-US" dirty="0"/>
              <a:t>:</a:t>
            </a:r>
          </a:p>
          <a:p>
            <a:r>
              <a:rPr lang="en-US" dirty="0"/>
              <a:t>An IAM user is an entity that you create in AWS. The IAM user represents the person or service </a:t>
            </a:r>
          </a:p>
          <a:p>
            <a:r>
              <a:rPr lang="en-US" dirty="0"/>
              <a:t>who uses the IAM user to interact with AWS. When you create an IAM user, you grant it </a:t>
            </a:r>
          </a:p>
          <a:p>
            <a:r>
              <a:rPr lang="en-US" dirty="0"/>
              <a:t>permissions by making it a member of a group that has appropriate permission policies attached</a:t>
            </a:r>
          </a:p>
          <a:p>
            <a:r>
              <a:rPr lang="en-US" dirty="0"/>
              <a:t> (recommended), or by directly attaching policies to the user</a:t>
            </a:r>
          </a:p>
          <a:p>
            <a:endParaRPr lang="en-US" dirty="0"/>
          </a:p>
          <a:p>
            <a:r>
              <a:rPr lang="en-US" b="1" dirty="0"/>
              <a:t>Group</a:t>
            </a:r>
            <a:r>
              <a:rPr lang="en-US" dirty="0"/>
              <a:t>:</a:t>
            </a:r>
          </a:p>
          <a:p>
            <a:r>
              <a:rPr lang="en-US" dirty="0"/>
              <a:t>An IAM group is a collection of IAM users. You can use groups to specify permissions for a </a:t>
            </a:r>
          </a:p>
          <a:p>
            <a:r>
              <a:rPr lang="en-US" dirty="0"/>
              <a:t>collection of users, which can make those permissions easier to manage for those users</a:t>
            </a:r>
          </a:p>
          <a:p>
            <a:endParaRPr lang="en-US" dirty="0"/>
          </a:p>
          <a:p>
            <a:r>
              <a:rPr lang="en-US" b="1" dirty="0"/>
              <a:t>Role</a:t>
            </a:r>
            <a:r>
              <a:rPr lang="en-US" dirty="0"/>
              <a:t>:</a:t>
            </a:r>
          </a:p>
          <a:p>
            <a:r>
              <a:rPr lang="en-US" dirty="0"/>
              <a:t>An IAM role is very similar to a user, in that it is an identity with permission policies that </a:t>
            </a:r>
          </a:p>
          <a:p>
            <a:r>
              <a:rPr lang="en-US" dirty="0"/>
              <a:t>determine what the identity can and cannot do in AWS. </a:t>
            </a:r>
          </a:p>
          <a:p>
            <a:r>
              <a:rPr lang="en-US" dirty="0"/>
              <a:t>However, a role does not have any credentials (password or access keys) associated with it.</a:t>
            </a:r>
          </a:p>
          <a:p>
            <a:r>
              <a:rPr lang="en-US" dirty="0"/>
              <a:t>Instead of being uniquely associated with one person, a role is intended to be assumable by </a:t>
            </a:r>
          </a:p>
          <a:p>
            <a:r>
              <a:rPr lang="en-US" dirty="0"/>
              <a:t>anyone who needs it</a:t>
            </a:r>
          </a:p>
        </p:txBody>
      </p:sp>
    </p:spTree>
    <p:extLst>
      <p:ext uri="{BB962C8B-B14F-4D97-AF65-F5344CB8AC3E}">
        <p14:creationId xmlns:p14="http://schemas.microsoft.com/office/powerpoint/2010/main" val="60233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0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Policy &amp; Permissions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IA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6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100686-F10F-EB4C-8522-656066FBC7CF}"/>
              </a:ext>
            </a:extLst>
          </p:cNvPr>
          <p:cNvSpPr txBox="1"/>
          <p:nvPr/>
        </p:nvSpPr>
        <p:spPr bwMode="gray">
          <a:xfrm>
            <a:off x="1649415" y="1802578"/>
            <a:ext cx="9731022" cy="44478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/>
              <a:t>IAM is an AWS service for managing both authentication and authorization in determining </a:t>
            </a:r>
          </a:p>
          <a:p>
            <a:r>
              <a:rPr lang="en-US" dirty="0"/>
              <a:t>who can access which resources in your AWS account. </a:t>
            </a:r>
          </a:p>
          <a:p>
            <a:r>
              <a:rPr lang="en-US" dirty="0"/>
              <a:t>At the core of IAM’s authorization system is an </a:t>
            </a:r>
            <a:r>
              <a:rPr lang="en-US" i="1" dirty="0"/>
              <a:t>IAM policy</a:t>
            </a:r>
          </a:p>
          <a:p>
            <a:endParaRPr lang="en-US" i="1" dirty="0"/>
          </a:p>
          <a:p>
            <a:endParaRPr lang="en-US" i="1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7A3476-B56A-9342-AC9A-1B5068A666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1326" y="2763533"/>
            <a:ext cx="8039100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59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69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Manage Policies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IA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7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100686-F10F-EB4C-8522-656066FBC7CF}"/>
              </a:ext>
            </a:extLst>
          </p:cNvPr>
          <p:cNvSpPr txBox="1"/>
          <p:nvPr/>
        </p:nvSpPr>
        <p:spPr bwMode="gray">
          <a:xfrm>
            <a:off x="1649415" y="1802579"/>
            <a:ext cx="9731022" cy="15050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/>
              <a:t>When you need to set the permissions for an identity in IAM, you must decide whether to use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WS Managed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stomer Managed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line Policies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C38CF86-DA88-CB4E-BD30-7007193974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192" y="3429000"/>
            <a:ext cx="4799770" cy="313831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FA3A92-B928-D940-90A2-712498FE57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6127" y="2967052"/>
            <a:ext cx="2669028" cy="37588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E323C01-41D0-F54D-B146-BBADC91274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5669" y="2859052"/>
            <a:ext cx="3128901" cy="3758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9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23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600" dirty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How we are managing IAM in Mystery Machin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IA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8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F09021B-B8CD-6849-90B0-0926C4B807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205" y="3463875"/>
            <a:ext cx="5450417" cy="11615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CF6CE3C-C1A3-244D-A151-C8F588079C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0022" y="4982842"/>
            <a:ext cx="8338777" cy="139371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793B9FA-EC95-814D-A673-E0D5E2E1FBC2}"/>
              </a:ext>
            </a:extLst>
          </p:cNvPr>
          <p:cNvSpPr txBox="1"/>
          <p:nvPr/>
        </p:nvSpPr>
        <p:spPr bwMode="gray">
          <a:xfrm>
            <a:off x="2246488" y="1638654"/>
            <a:ext cx="8827911" cy="5513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dirty="0" err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2907366-0CFA-724B-93B7-4AD0B2B24A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415" y="1747703"/>
            <a:ext cx="2628106" cy="149234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82D1177-0962-9D4C-92C5-C98590E5B6A7}"/>
              </a:ext>
            </a:extLst>
          </p:cNvPr>
          <p:cNvSpPr txBox="1"/>
          <p:nvPr/>
        </p:nvSpPr>
        <p:spPr bwMode="gray">
          <a:xfrm>
            <a:off x="5180806" y="188775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/>
              <a:t>We are creating the admin role in order to allow or deny </a:t>
            </a:r>
          </a:p>
          <a:p>
            <a:r>
              <a:rPr lang="en-US" dirty="0"/>
              <a:t>permissions to the AWS resources or servic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7B8F7E-5E81-3C40-AB09-B7FDED03DCA2}"/>
              </a:ext>
            </a:extLst>
          </p:cNvPr>
          <p:cNvSpPr txBox="1"/>
          <p:nvPr/>
        </p:nvSpPr>
        <p:spPr bwMode="gray">
          <a:xfrm>
            <a:off x="1683455" y="3669101"/>
            <a:ext cx="4481688" cy="102799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/>
              <a:t>We are using CloudFormation Template in</a:t>
            </a:r>
          </a:p>
          <a:p>
            <a:r>
              <a:rPr lang="en-US" dirty="0"/>
              <a:t>Order to create the admin ro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A89DEC-9157-314E-8763-13B25D598153}"/>
              </a:ext>
            </a:extLst>
          </p:cNvPr>
          <p:cNvSpPr txBox="1"/>
          <p:nvPr/>
        </p:nvSpPr>
        <p:spPr bwMode="gray">
          <a:xfrm>
            <a:off x="1301933" y="5017623"/>
            <a:ext cx="2348089" cy="20288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/>
              <a:t>In this example we are</a:t>
            </a:r>
          </a:p>
          <a:p>
            <a:r>
              <a:rPr lang="en-US" dirty="0"/>
              <a:t>Deny the access to </a:t>
            </a:r>
          </a:p>
          <a:p>
            <a:r>
              <a:rPr lang="en-US" dirty="0"/>
              <a:t>Pipeline for all the </a:t>
            </a:r>
          </a:p>
          <a:p>
            <a:r>
              <a:rPr lang="en-US" dirty="0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7164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FA&quot; g=&quot;95&quot; b=&quot;30&quot;/&gt;&lt;m_nBrightness tagver0=&quot;26206&quot; tagname0=&quot;m_nBrightnessUNRECOGNIZED&quot; val=&quot;0&quot;/&gt;&lt;/elem&gt;&lt;elem m_fUsage=&quot;9.00000000000000022204E-01&quot;&gt;&lt;m_msothmcolidx val=&quot;0&quot;/&gt;&lt;m_rgb r=&quot;CE&quot; g=&quot;FA&quot; b=&quot;B4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u9rkotT0mcGFkqu3LY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P3cYbRoKUGpJkZo0TNA"/>
</p:tagLst>
</file>

<file path=ppt/theme/theme1.xml><?xml version="1.0" encoding="utf-8"?>
<a:theme xmlns:a="http://schemas.openxmlformats.org/drawingml/2006/main" name="Innovation_Template_180525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Innovation_Template_180523.potx" id="{767C0794-9AA6-4936-B2A3-2F036F750CCB}" vid="{53EF8483-8E84-4DA6-A1C6-0472A80C825C}"/>
    </a:ext>
  </a:extLst>
</a:theme>
</file>

<file path=ppt/theme/theme2.xml><?xml version="1.0" encoding="utf-8"?>
<a:theme xmlns:a="http://schemas.openxmlformats.org/drawingml/2006/main" name="4_Blank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SharedContentType xmlns="Microsoft.SharePoint.Taxonomy.ContentTypeSync" SourceId="7c593367-9bb5-4764-945e-f6a26d2260c4" ContentTypeId="0x0101" PreviousValue="false"/>
</file>

<file path=customXml/item4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Expiration" staticId="0x0101|-2126682137" UniqueId="ab3b55e9-aae5-4563-b264-599d7d4a4f77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Bayer SharePoint Retention Policy 2.1"/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AF2F8C23D00041AD39A83D58820641" ma:contentTypeVersion="0" ma:contentTypeDescription="Create a new document." ma:contentTypeScope="" ma:versionID="16d48b49f6426930d5dfefadb60cd718">
  <xsd:schema xmlns:xsd="http://www.w3.org/2001/XMLSchema" xmlns:xs="http://www.w3.org/2001/XMLSchema" xmlns:p="http://schemas.microsoft.com/office/2006/metadata/properties" xmlns:ns1="http://schemas.microsoft.com/sharepoint/v3" xmlns:ns2="e941b624-166c-4987-9ed6-d539972f16a8" xmlns:ns3="83fd0a3a-c00a-4443-99a8-9e213103e63a" targetNamespace="http://schemas.microsoft.com/office/2006/metadata/properties" ma:root="true" ma:fieldsID="9cc429934e847f44fbd2f410d9cd2cca" ns1:_="" ns2:_="" ns3:_="">
    <xsd:import namespace="http://schemas.microsoft.com/sharepoint/v3"/>
    <xsd:import namespace="e941b624-166c-4987-9ed6-d539972f16a8"/>
    <xsd:import namespace="83fd0a3a-c00a-4443-99a8-9e213103e63a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gbbd9102adcd43839cd73b51972a464c" minOccurs="0"/>
                <xsd:element ref="ns1:_dlc_Exempt" minOccurs="0"/>
                <xsd:element ref="ns1:_dlc_ExpireDateSaved" minOccurs="0"/>
                <xsd:element ref="ns1:_dlc_ExpireDate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2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3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14" nillable="true" ma:displayName="Expiration Date" ma:hidden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41b624-166c-4987-9ed6-d539972f16a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a55c703b-7ee2-4e64-be55-42104beab2de}" ma:internalName="TaxCatchAll" ma:showField="CatchAllData" ma:web="83fd0a3a-c00a-4443-99a8-9e213103e6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a55c703b-7ee2-4e64-be55-42104beab2de}" ma:internalName="TaxCatchAllLabel" ma:readOnly="true" ma:showField="CatchAllDataLabel" ma:web="83fd0a3a-c00a-4443-99a8-9e213103e6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bbd9102adcd43839cd73b51972a464c" ma:index="10" ma:taxonomy="true" ma:internalName="gbbd9102adcd43839cd73b51972a464c" ma:taxonomyFieldName="DataClassBayerRetention" ma:displayName="Data Class" ma:readOnly="false" ma:default="1;#Short-Term|6d967203-8346-4b9c-90f8-b3828a3fa508" ma:fieldId="{0bbd9102-adcd-4383-9cd7-3b51972a464c}" ma:sspId="7c593367-9bb5-4764-945e-f6a26d2260c4" ma:termSetId="a305235b-fecf-45b3-8300-71c0f432cbc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fd0a3a-c00a-4443-99a8-9e213103e63a" elementFormDefault="qualified">
    <xsd:import namespace="http://schemas.microsoft.com/office/2006/documentManagement/types"/>
    <xsd:import namespace="http://schemas.microsoft.com/office/infopath/2007/PartnerControls"/>
    <xsd:element name="_dlc_DocId" ma:index="15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6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7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941b624-166c-4987-9ed6-d539972f16a8">
      <Value>1</Value>
    </TaxCatchAll>
    <gbbd9102adcd43839cd73b51972a464c xmlns="e941b624-166c-4987-9ed6-d539972f16a8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ort-Term</TermName>
          <TermId xmlns="http://schemas.microsoft.com/office/infopath/2007/PartnerControls">6d967203-8346-4b9c-90f8-b3828a3fa508</TermId>
        </TermInfo>
      </Terms>
    </gbbd9102adcd43839cd73b51972a464c>
    <_dlc_DocId xmlns="83fd0a3a-c00a-4443-99a8-9e213103e63a">E3PDXXREPEFR-209009135-2216</_dlc_DocId>
    <_dlc_ExpireDateSaved xmlns="http://schemas.microsoft.com/sharepoint/v3" xsi:nil="true"/>
    <_dlc_DocIdUrl xmlns="83fd0a3a-c00a-4443-99a8-9e213103e63a">
      <Url>http://sp-coll-bag.bayer-ag.com/sites/020327/IS/_layouts/15/DocIdRedir.aspx?ID=E3PDXXREPEFR-209009135-2216</Url>
      <Description>E3PDXXREPEFR-209009135-2216</Description>
    </_dlc_DocIdUrl>
    <_dlc_ExpireDate xmlns="http://schemas.microsoft.com/sharepoint/v3">2020-10-05T14:06:03+00:00</_dlc_ExpireDate>
  </documentManagement>
</p:properties>
</file>

<file path=customXml/itemProps1.xml><?xml version="1.0" encoding="utf-8"?>
<ds:datastoreItem xmlns:ds="http://schemas.openxmlformats.org/officeDocument/2006/customXml" ds:itemID="{0FC14377-87DD-4AB9-B168-B374CD6DA8E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A8551B-2E29-4BA9-AF4F-FDF8CD32DBD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A0C0A3B9-0A7E-4589-A71A-C1AB082FD31B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E806CB75-EB06-4EBA-B81E-E36A624BF3A9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82E01D86-EB8B-4ECD-8EB9-90F39C252F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941b624-166c-4987-9ed6-d539972f16a8"/>
    <ds:schemaRef ds:uri="83fd0a3a-c00a-4443-99a8-9e213103e6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7816A002-A305-4613-81DF-4DD144B10D9B}">
  <ds:schemaRefs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83fd0a3a-c00a-4443-99a8-9e213103e63a"/>
    <ds:schemaRef ds:uri="http://schemas.microsoft.com/office/2006/metadata/properties"/>
    <ds:schemaRef ds:uri="http://purl.org/dc/terms/"/>
    <ds:schemaRef ds:uri="e941b624-166c-4987-9ed6-d539972f16a8"/>
    <ds:schemaRef ds:uri="http://schemas.microsoft.com/sharepoint/v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_BAG_PPT-master_16-9_2017-11-20</Template>
  <TotalTime>1385</TotalTime>
  <Words>193</Words>
  <Application>Microsoft Macintosh PowerPoint</Application>
  <PresentationFormat>Custom</PresentationFormat>
  <Paragraphs>64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Helvetica Neue</vt:lpstr>
      <vt:lpstr>Innovation_Template_180525</vt:lpstr>
      <vt:lpstr>4_Blank</vt:lpstr>
      <vt:lpstr>think-cell Folie</vt:lpstr>
      <vt:lpstr>PowerPoint Presentation</vt:lpstr>
      <vt:lpstr>IAM</vt:lpstr>
      <vt:lpstr>IAM</vt:lpstr>
      <vt:lpstr>IAM</vt:lpstr>
      <vt:lpstr>IAM</vt:lpstr>
      <vt:lpstr>IAM</vt:lpstr>
      <vt:lpstr>IAM</vt:lpstr>
      <vt:lpstr>IA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, consetetur</dc:title>
  <dc:creator>James Yancey</dc:creator>
  <cp:lastModifiedBy>ESTEVEZ, EMILIANO PABLO [AG/5000]</cp:lastModifiedBy>
  <cp:revision>463</cp:revision>
  <cp:lastPrinted>2019-08-21T14:34:20Z</cp:lastPrinted>
  <dcterms:created xsi:type="dcterms:W3CDTF">2017-12-08T12:12:15Z</dcterms:created>
  <dcterms:modified xsi:type="dcterms:W3CDTF">2019-08-21T16:0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17AF2F8C23D00041AD39A83D58820641</vt:lpwstr>
  </property>
  <property fmtid="{D5CDD505-2E9C-101B-9397-08002B2CF9AE}" pid="4" name="DataClassBayerRetention">
    <vt:lpwstr>1;#Short-Term|6d967203-8346-4b9c-90f8-b3828a3fa508</vt:lpwstr>
  </property>
  <property fmtid="{D5CDD505-2E9C-101B-9397-08002B2CF9AE}" pid="5" name="_dlc_policyId">
    <vt:lpwstr>0x0101|-2126682137</vt:lpwstr>
  </property>
  <property fmtid="{D5CDD505-2E9C-101B-9397-08002B2CF9AE}" pid="6" name="ItemRetentionFormula">
    <vt:lpwstr>&lt;formula id="Bayer SharePoint Retention Policy 2.1" /&gt;</vt:lpwstr>
  </property>
  <property fmtid="{D5CDD505-2E9C-101B-9397-08002B2CF9AE}" pid="7" name="_dlc_DocIdItemGuid">
    <vt:lpwstr>c8fae312-7ce7-43ab-a80d-b8227f0467b0</vt:lpwstr>
  </property>
</Properties>
</file>